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15"/>
  </p:notesMasterIdLst>
  <p:sldIdLst>
    <p:sldId id="260" r:id="rId4"/>
    <p:sldId id="262" r:id="rId5"/>
    <p:sldId id="305" r:id="rId6"/>
    <p:sldId id="306" r:id="rId7"/>
    <p:sldId id="307" r:id="rId8"/>
    <p:sldId id="308" r:id="rId9"/>
    <p:sldId id="289" r:id="rId10"/>
    <p:sldId id="309" r:id="rId11"/>
    <p:sldId id="310" r:id="rId12"/>
    <p:sldId id="292" r:id="rId13"/>
    <p:sldId id="293" r:id="rId14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FF"/>
    <a:srgbClr val="FF5757"/>
    <a:srgbClr val="FF99FF"/>
    <a:srgbClr val="FF3737"/>
    <a:srgbClr val="FA0000"/>
    <a:srgbClr val="E60000"/>
    <a:srgbClr val="C00000"/>
    <a:srgbClr val="EDF58B"/>
    <a:srgbClr val="DBE6C4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38" autoAdjust="0"/>
    <p:restoredTop sz="94660"/>
  </p:normalViewPr>
  <p:slideViewPr>
    <p:cSldViewPr>
      <p:cViewPr>
        <p:scale>
          <a:sx n="100" d="100"/>
          <a:sy n="100" d="100"/>
        </p:scale>
        <p:origin x="-516" y="29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0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24957"/>
            <a:ext cx="5486400" cy="4476273"/>
          </a:xfrm>
          <a:prstGeom prst="rect">
            <a:avLst/>
          </a:prstGeom>
        </p:spPr>
        <p:txBody>
          <a:bodyPr vert="horz" lIns="91870" tIns="45935" rIns="91870" bIns="4593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0597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2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0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0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0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09789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855768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482359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496228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595186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922378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80480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738547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0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52281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76925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311143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276157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827179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519268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289929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754371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030855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991023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0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301912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207498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233662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699384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0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0.06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0.06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0.06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0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0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0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851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211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eg"/><Relationship Id="rId12" Type="http://schemas.openxmlformats.org/officeDocument/2006/relationships/image" Target="../media/image20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jpeg"/><Relationship Id="rId11" Type="http://schemas.openxmlformats.org/officeDocument/2006/relationships/image" Target="../media/image19.jpeg"/><Relationship Id="rId5" Type="http://schemas.openxmlformats.org/officeDocument/2006/relationships/image" Target="../media/image10.emf"/><Relationship Id="rId10" Type="http://schemas.openxmlformats.org/officeDocument/2006/relationships/image" Target="../media/image18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7.jpeg"/><Relationship Id="rId14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439738"/>
          </a:xfrm>
        </p:spPr>
        <p:txBody>
          <a:bodyPr>
            <a:no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 проекта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И К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ТЕЛЬНОЙ ДЕЯТЕЛЬНОСТИ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ИЗИЧЕСКОЙ КУЛЬТУРЕ</a:t>
            </a:r>
            <a:r>
              <a:rPr lang="ru-RU" sz="155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233363" y="1052736"/>
            <a:ext cx="8636000" cy="168279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33363" y="2852359"/>
            <a:ext cx="8636000" cy="151274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279367" y="1076367"/>
            <a:ext cx="1956386" cy="340519"/>
          </a:xfrm>
          <a:prstGeom prst="roundRect">
            <a:avLst>
              <a:gd name="adj" fmla="val 0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ая </a:t>
            </a: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: 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26980" y="4523634"/>
            <a:ext cx="8621713" cy="72007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ct val="115000"/>
              </a:lnSpc>
              <a:spcAft>
                <a:spcPts val="0"/>
              </a:spcAft>
            </a:pPr>
            <a:endParaRPr lang="ru-RU" sz="1200" dirty="0" smtClean="0">
              <a:solidFill>
                <a:srgbClr val="002060"/>
              </a:solidFill>
              <a:latin typeface="Times New Roman"/>
              <a:ea typeface="Calibri"/>
              <a:cs typeface="Times New Roman"/>
            </a:endParaRPr>
          </a:p>
          <a:p>
            <a:r>
              <a:rPr lang="ru-RU" sz="1200" dirty="0">
                <a:solidFill>
                  <a:srgbClr val="002060"/>
                </a:solidFill>
                <a:latin typeface="Times New Roman"/>
                <a:cs typeface="Times New Roman"/>
              </a:rPr>
              <a:t>	 </a:t>
            </a:r>
            <a:r>
              <a:rPr lang="ru-RU" sz="1200" dirty="0" smtClean="0">
                <a:solidFill>
                  <a:srgbClr val="002060"/>
                </a:solidFill>
                <a:latin typeface="Times New Roman"/>
                <a:cs typeface="Times New Roman"/>
              </a:rPr>
              <a:t>           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ени подготовки к ОД по физической культуре за счет усовершенствования развивающей предметно-пространственной среды.</a:t>
            </a:r>
          </a:p>
          <a:p>
            <a:pPr>
              <a:spcAft>
                <a:spcPts val="0"/>
              </a:spcAft>
            </a:pPr>
            <a:r>
              <a:rPr lang="ru-RU" sz="1200" dirty="0" smtClean="0">
                <a:solidFill>
                  <a:schemeClr val="tx1"/>
                </a:solidFill>
                <a:latin typeface="Times New Roman"/>
                <a:ea typeface="Calibri"/>
                <a:cs typeface="Times New Roman"/>
              </a:rPr>
              <a:t>. </a:t>
            </a:r>
            <a:endParaRPr lang="ru-RU" sz="1200" dirty="0">
              <a:solidFill>
                <a:schemeClr val="tx1"/>
              </a:solidFill>
              <a:ea typeface="Calibri"/>
              <a:cs typeface="Times New Roman"/>
            </a:endParaRPr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67177" y="2852359"/>
            <a:ext cx="2799482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снование выбора процесса: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298417" y="4581029"/>
            <a:ext cx="138818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: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22983" y="1023851"/>
            <a:ext cx="5545361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ргана местного  самоуправления: </a:t>
            </a:r>
          </a:p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 образования администрации Яковлевского городского округа.</a:t>
            </a:r>
          </a:p>
          <a:p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бразовательной организации:</a:t>
            </a:r>
          </a:p>
          <a:p>
            <a:pPr lvl="0"/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«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ский сад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Кривцово 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ковлевского городского округа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ницы процесса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от сообщения воспитателя детям о подготовке к ОД </a:t>
            </a:r>
            <a:endParaRPr lang="ru-RU" sz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зической культуре до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хода воспитанников из группы в спортивный зал. 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начала  проекта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04.03.2020 г.</a:t>
            </a:r>
          </a:p>
          <a:p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окончания проекта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26.05.2020 г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298417" y="3128247"/>
            <a:ext cx="6996608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Временные потери на подготовку к ОД по физической культуре.</a:t>
            </a:r>
          </a:p>
          <a:p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Возникновение конфликтных ситуаций между детьми во время переодевания к ОД по физической культуре.</a:t>
            </a:r>
          </a:p>
          <a:p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Отсутствие специального места для хранения спортивного инвентаря.</a:t>
            </a:r>
          </a:p>
          <a:p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Выполнение дополнительных действий  по подготовке к ОД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Отсутствие алгоритма подготовки к  ОД по физической культуре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/>
              <a:t> </a:t>
            </a: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47650" y="5373216"/>
            <a:ext cx="8621713" cy="13155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384885" y="5514156"/>
            <a:ext cx="174534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ы проекта: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63492" y="5857751"/>
            <a:ext cx="861288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Устранение временных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терь 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счёт создания 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горитма подготовки к  ОД по физической культуре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Снижение риска возникновения конфликтных ситуаций.</a:t>
            </a:r>
          </a:p>
          <a:p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Приобретение  мобильного стеллажа для хранения спортивного инвентаря.</a:t>
            </a:r>
          </a:p>
          <a:p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Упрощение процесса подготовки  к образовательной деятельности.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 dirty="0"/>
          </a:p>
        </p:txBody>
      </p:sp>
      <p:pic>
        <p:nvPicPr>
          <p:cNvPr id="19" name="Рисунок 18" descr="C:\Documents and Settings\Администратор\Рабочий стол\P00608-114305.jpg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45" t="19494" r="19203" b="36168"/>
          <a:stretch/>
        </p:blipFill>
        <p:spPr bwMode="auto">
          <a:xfrm>
            <a:off x="7524328" y="1398797"/>
            <a:ext cx="1268619" cy="80606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0" name="Рисунок 19" descr="C:\Documents and Settings\Администратор\Рабочий стол\P00608-132631.jp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0" t="24809" r="2349" b="1266"/>
          <a:stretch/>
        </p:blipFill>
        <p:spPr bwMode="auto">
          <a:xfrm>
            <a:off x="7283088" y="3079236"/>
            <a:ext cx="1432198" cy="97226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532188" y="1436688"/>
            <a:ext cx="936625" cy="936625"/>
          </a:xfrm>
          <a:prstGeom prst="flowChartConnector">
            <a:avLst/>
          </a:prstGeom>
          <a:solidFill>
            <a:srgbClr val="FF99FF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6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3" name="Прямая соединительная линия 62"/>
          <p:cNvCxnSpPr>
            <a:endCxn id="17" idx="2"/>
          </p:cNvCxnSpPr>
          <p:nvPr/>
        </p:nvCxnSpPr>
        <p:spPr>
          <a:xfrm>
            <a:off x="2222182" y="1905000"/>
            <a:ext cx="1310006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85724" y="1503362"/>
            <a:ext cx="2200274" cy="803275"/>
          </a:xfrm>
          <a:prstGeom prst="rect">
            <a:avLst/>
          </a:prstGeom>
          <a:solidFill>
            <a:srgbClr val="FF99FF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готовки </a:t>
            </a: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ОД по физической </a:t>
            </a: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е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март 2020г.)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564063" y="1522413"/>
            <a:ext cx="0" cy="518001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узел 54"/>
          <p:cNvSpPr/>
          <p:nvPr/>
        </p:nvSpPr>
        <p:spPr>
          <a:xfrm>
            <a:off x="3622675" y="2686050"/>
            <a:ext cx="755650" cy="601663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1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144750" y="2564905"/>
            <a:ext cx="2208212" cy="722808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общение </a:t>
            </a: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оспитанникам о подготовке к образовательной деятельности по физической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ультуре, мин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57" name="Прямая соединительная линия 56"/>
          <p:cNvCxnSpPr>
            <a:endCxn id="55" idx="2"/>
          </p:cNvCxnSpPr>
          <p:nvPr/>
        </p:nvCxnSpPr>
        <p:spPr>
          <a:xfrm flipV="1">
            <a:off x="2293938" y="2986882"/>
            <a:ext cx="1328737" cy="5556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58750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496"/>
            <a:ext cx="9053513" cy="76619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  <a:endParaRPr lang="ru-RU" sz="2000" b="1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20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я времени:</a:t>
            </a:r>
            <a:endParaRPr lang="ru-RU" sz="2000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Блок-схема: узел 33"/>
          <p:cNvSpPr/>
          <p:nvPr/>
        </p:nvSpPr>
        <p:spPr>
          <a:xfrm>
            <a:off x="3622675" y="3475437"/>
            <a:ext cx="755650" cy="577726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93663" y="3422591"/>
            <a:ext cx="2200274" cy="683418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ведение порядка воспитанниками в игровых центрах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тивности, мин 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293937" y="3764300"/>
            <a:ext cx="1328738" cy="641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Блок-схема: узел 45"/>
          <p:cNvSpPr/>
          <p:nvPr/>
        </p:nvSpPr>
        <p:spPr>
          <a:xfrm>
            <a:off x="8115300" y="1411809"/>
            <a:ext cx="936625" cy="936625"/>
          </a:xfrm>
          <a:prstGeom prst="flowChartConnector">
            <a:avLst/>
          </a:prstGeom>
          <a:solidFill>
            <a:schemeClr val="accent3">
              <a:lumMod val="60000"/>
              <a:lumOff val="40000"/>
            </a:schemeClr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7011988" y="1905000"/>
            <a:ext cx="103028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703763" y="1556792"/>
            <a:ext cx="2389187" cy="91335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готовки </a:t>
            </a: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ОД по физической </a:t>
            </a: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е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май 2020г.)</a:t>
            </a: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664075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узел 49"/>
          <p:cNvSpPr/>
          <p:nvPr/>
        </p:nvSpPr>
        <p:spPr>
          <a:xfrm>
            <a:off x="8137525" y="2713037"/>
            <a:ext cx="831850" cy="601663"/>
          </a:xfrm>
          <a:prstGeom prst="flowChartConnector">
            <a:avLst/>
          </a:prstGeom>
          <a:solidFill>
            <a:srgbClr val="DBE6C4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780234" y="2625476"/>
            <a:ext cx="2323829" cy="689223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общение воспитанникам о подготовке к образовательной деятельности по физической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ультуре, мин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52" name="Прямая соединительная линия 51"/>
          <p:cNvCxnSpPr>
            <a:endCxn id="50" idx="2"/>
          </p:cNvCxnSpPr>
          <p:nvPr/>
        </p:nvCxnSpPr>
        <p:spPr>
          <a:xfrm flipV="1">
            <a:off x="6996385" y="3013869"/>
            <a:ext cx="1141140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4795838" y="3429002"/>
            <a:ext cx="2216150" cy="683418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ведение порядка воспитанниками в игровых центрах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тивности, мин 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7092950" y="3770711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/>
            </a:extLst>
          </p:cNvPr>
          <p:cNvSpPr/>
          <p:nvPr/>
        </p:nvSpPr>
        <p:spPr>
          <a:xfrm>
            <a:off x="85724" y="692696"/>
            <a:ext cx="9058275" cy="6164138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99488" y="6448251"/>
            <a:ext cx="437008" cy="365125"/>
          </a:xfrm>
        </p:spPr>
        <p:txBody>
          <a:bodyPr/>
          <a:lstStyle/>
          <a:p>
            <a:r>
              <a:rPr lang="ru-RU" sz="1400" dirty="0" smtClean="0"/>
              <a:t>17</a:t>
            </a:r>
            <a:endParaRPr lang="ru-RU" sz="1400" dirty="0"/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467544" y="807650"/>
            <a:ext cx="288032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:</a:t>
            </a:r>
            <a:endParaRPr lang="ru-RU" sz="1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762673" y="807650"/>
            <a:ext cx="323891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:</a:t>
            </a:r>
            <a:endParaRPr lang="ru-RU" sz="1600" b="1" dirty="0">
              <a:solidFill>
                <a:srgbClr val="00B05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36524" y="4280295"/>
            <a:ext cx="2179638" cy="756629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готовка к ОД по физической культуре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переодевание, подготовка инвентаря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, мин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flipV="1">
            <a:off x="2293938" y="4581128"/>
            <a:ext cx="1262857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2293938" y="5301208"/>
            <a:ext cx="132873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Блок-схема: узел 59"/>
          <p:cNvSpPr/>
          <p:nvPr/>
        </p:nvSpPr>
        <p:spPr>
          <a:xfrm>
            <a:off x="3649291" y="5085183"/>
            <a:ext cx="755650" cy="610767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61" name="Блок-схема: узел 60"/>
          <p:cNvSpPr/>
          <p:nvPr/>
        </p:nvSpPr>
        <p:spPr>
          <a:xfrm>
            <a:off x="3622675" y="4280295"/>
            <a:ext cx="755650" cy="601663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 rot="10800000" flipV="1">
            <a:off x="158749" y="5949280"/>
            <a:ext cx="2135187" cy="648072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ереход воспитанников из группы в спортивный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л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2345531" y="6256191"/>
            <a:ext cx="1328738" cy="641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Блок-схема: узел 64"/>
          <p:cNvSpPr/>
          <p:nvPr/>
        </p:nvSpPr>
        <p:spPr>
          <a:xfrm>
            <a:off x="3716412" y="5949280"/>
            <a:ext cx="752401" cy="576064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66" name="Прямоугольник 65"/>
          <p:cNvSpPr/>
          <p:nvPr/>
        </p:nvSpPr>
        <p:spPr>
          <a:xfrm rot="10800000" flipV="1">
            <a:off x="4795838" y="4232908"/>
            <a:ext cx="2216150" cy="804016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готовка к ОД по физической культуре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переодевание, подготовка инвентаря), мин</a:t>
            </a:r>
          </a:p>
        </p:txBody>
      </p:sp>
      <p:sp>
        <p:nvSpPr>
          <p:cNvPr id="67" name="Прямоугольник 66"/>
          <p:cNvSpPr/>
          <p:nvPr/>
        </p:nvSpPr>
        <p:spPr>
          <a:xfrm rot="10800000" flipV="1">
            <a:off x="4795838" y="5085181"/>
            <a:ext cx="2216150" cy="610767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троение воспитанников, мин</a:t>
            </a:r>
          </a:p>
        </p:txBody>
      </p:sp>
      <p:sp>
        <p:nvSpPr>
          <p:cNvPr id="70" name="Прямоугольник 69"/>
          <p:cNvSpPr/>
          <p:nvPr/>
        </p:nvSpPr>
        <p:spPr>
          <a:xfrm rot="10800000" flipV="1">
            <a:off x="4795838" y="5949280"/>
            <a:ext cx="2216150" cy="648070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ереход воспитанников из группы в спортивный зал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</a:t>
            </a: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7104063" y="4571602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7126288" y="5301607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7092950" y="6165304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Блок-схема: узел 79"/>
          <p:cNvSpPr/>
          <p:nvPr/>
        </p:nvSpPr>
        <p:spPr>
          <a:xfrm>
            <a:off x="8175625" y="4269740"/>
            <a:ext cx="793750" cy="611659"/>
          </a:xfrm>
          <a:prstGeom prst="flowChartConnector">
            <a:avLst/>
          </a:prstGeom>
          <a:solidFill>
            <a:srgbClr val="DBE6C4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1" name="Блок-схема: узел 80"/>
          <p:cNvSpPr/>
          <p:nvPr/>
        </p:nvSpPr>
        <p:spPr>
          <a:xfrm>
            <a:off x="8175625" y="5850260"/>
            <a:ext cx="793750" cy="613717"/>
          </a:xfrm>
          <a:prstGeom prst="flowChartConnector">
            <a:avLst/>
          </a:prstGeom>
          <a:solidFill>
            <a:srgbClr val="DBE6C4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84" name="Прямоугольник 83"/>
          <p:cNvSpPr/>
          <p:nvPr/>
        </p:nvSpPr>
        <p:spPr>
          <a:xfrm rot="10800000" flipV="1">
            <a:off x="158748" y="5093568"/>
            <a:ext cx="2135190" cy="711696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троение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оспитанников, мин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Блок-схема: узел 58"/>
          <p:cNvSpPr/>
          <p:nvPr/>
        </p:nvSpPr>
        <p:spPr>
          <a:xfrm>
            <a:off x="8204304" y="3469879"/>
            <a:ext cx="833334" cy="636129"/>
          </a:xfrm>
          <a:prstGeom prst="flowChartConnector">
            <a:avLst/>
          </a:prstGeom>
          <a:solidFill>
            <a:srgbClr val="DBE6C4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Блок-схема: узел 68"/>
          <p:cNvSpPr/>
          <p:nvPr/>
        </p:nvSpPr>
        <p:spPr>
          <a:xfrm>
            <a:off x="8204304" y="5036924"/>
            <a:ext cx="833334" cy="636129"/>
          </a:xfrm>
          <a:prstGeom prst="flowChartConnector">
            <a:avLst/>
          </a:prstGeom>
          <a:solidFill>
            <a:srgbClr val="DBE6C4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029546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187624" y="2348880"/>
            <a:ext cx="1584176" cy="309634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648072"/>
          </a:xfrm>
          <a:effectLst/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3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1520" y="1268760"/>
            <a:ext cx="864096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572000" y="1268760"/>
            <a:ext cx="0" cy="417646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трелка вниз 12"/>
          <p:cNvSpPr/>
          <p:nvPr/>
        </p:nvSpPr>
        <p:spPr>
          <a:xfrm>
            <a:off x="6458897" y="1855922"/>
            <a:ext cx="372725" cy="432048"/>
          </a:xfrm>
          <a:prstGeom prst="downArrow">
            <a:avLst>
              <a:gd name="adj1" fmla="val 50000"/>
              <a:gd name="adj2" fmla="val 47795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6521128" y="3140968"/>
            <a:ext cx="365135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187624" y="1628801"/>
            <a:ext cx="1584176" cy="226825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385442" y="1855922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1%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331640" y="3573016"/>
            <a:ext cx="14401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4 мин.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71600" y="5621178"/>
            <a:ext cx="2376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отекания процесса</a:t>
            </a:r>
            <a:endParaRPr lang="ru-RU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Стрелка вниз 14"/>
          <p:cNvSpPr/>
          <p:nvPr/>
        </p:nvSpPr>
        <p:spPr>
          <a:xfrm>
            <a:off x="6541166" y="4063589"/>
            <a:ext cx="345097" cy="432048"/>
          </a:xfrm>
          <a:prstGeom prst="downArrow">
            <a:avLst>
              <a:gd name="adj1" fmla="val 50000"/>
              <a:gd name="adj2" fmla="val 47795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03495" y="1404639"/>
            <a:ext cx="3484929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 smtClean="0">
                <a:latin typeface="Times New Roman" pitchFamily="18" charset="0"/>
                <a:cs typeface="Times New Roman" pitchFamily="18" charset="0"/>
              </a:rPr>
              <a:t>ЭФФЕКТ</a:t>
            </a:r>
            <a:r>
              <a:rPr lang="ru-RU" altLang="ru-RU" b="1" dirty="0">
                <a:latin typeface="Times New Roman" pitchFamily="18" charset="0"/>
                <a:cs typeface="Times New Roman" pitchFamily="18" charset="0"/>
              </a:rPr>
              <a:t> </a:t>
            </a:r>
            <a:endParaRPr lang="ru-RU" alt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Times New Roman" pitchFamily="18" charset="0"/>
              <a:cs typeface="Times New Roman" pitchFamily="18" charset="0"/>
            </a:endParaRPr>
          </a:p>
          <a:p>
            <a:pPr marL="228600" indent="-228600" algn="ctr" eaLnBrk="0" hangingPunct="0"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Упрощение процесса подготовки к ОД по физической культуре</a:t>
            </a:r>
          </a:p>
          <a:p>
            <a:pPr marL="228600" indent="-228600" algn="ctr" eaLnBrk="0" hangingPunct="0">
              <a:defRPr/>
            </a:pP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228600" indent="-228600" algn="ctr" eaLnBrk="0" hangingPunct="0"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228600" indent="-228600" algn="just" eaLnBrk="0" hangingPunct="0">
              <a:buFont typeface="+mj-lt"/>
              <a:buAutoNum type="arabicPeriod"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algn="just" eaLnBrk="0" hangingPunct="0">
              <a:defRPr/>
            </a:pPr>
            <a:endParaRPr lang="ru-RU" sz="14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0" hangingPunct="0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оздание комфортной среды за счёт  визуализации </a:t>
            </a:r>
            <a:r>
              <a:rPr lang="ru-RU" sz="1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безопасного </a:t>
            </a:r>
            <a:r>
              <a:rPr lang="ru-RU" sz="14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странства</a:t>
            </a: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marL="228600" indent="-228600" algn="ctr" eaLnBrk="0" hangingPunct="0">
              <a:defRPr/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marL="228600" indent="-228600" algn="ctr" eaLnBrk="0" hangingPunct="0">
              <a:defRPr/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нижение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иска возникновения конфликтных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туаций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ctr" eaLnBrk="0" hangingPunct="0">
              <a:defRPr/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002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279190" y="3631975"/>
            <a:ext cx="8621712" cy="246380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91431" y="853603"/>
            <a:ext cx="8597230" cy="261209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601295" y="744726"/>
            <a:ext cx="213773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319292" y="3694588"/>
            <a:ext cx="2179674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3680701" y="2746306"/>
            <a:ext cx="1206451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енова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рина Викторо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</a:t>
            </a:r>
            <a:endParaRPr lang="ru-RU" altLang="ru-RU" sz="1000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3531791" y="914986"/>
            <a:ext cx="1538288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1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проекта</a:t>
            </a:r>
            <a:endParaRPr lang="en-US" altLang="ru-RU" sz="1100" b="1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6532768" y="2746306"/>
            <a:ext cx="1427187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юкова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тьяна Сергее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спитатель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667712" y="914986"/>
            <a:ext cx="2216656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1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 </a:t>
            </a:r>
            <a:endParaRPr lang="en-US" altLang="ru-RU" sz="1100" b="1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5324513" y="5542855"/>
            <a:ext cx="14620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знецова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льга Николаевна, воспитатель</a:t>
            </a:r>
            <a:endParaRPr lang="ru-RU" altLang="ru-RU" sz="1000" kern="0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2442294" y="5632748"/>
            <a:ext cx="14620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лчанова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лентина Ивановна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оспитатель</a:t>
            </a:r>
            <a:endParaRPr lang="ru-RU" altLang="ru-RU" sz="1000" kern="0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</a:t>
            </a:fld>
            <a:endParaRPr lang="ru-RU" sz="1400" dirty="0"/>
          </a:p>
        </p:txBody>
      </p:sp>
      <p:pic>
        <p:nvPicPr>
          <p:cNvPr id="25" name="Рисунок 24" descr="D:\здание ДОУ\IMG_1525.jpg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9" b="27389"/>
          <a:stretch/>
        </p:blipFill>
        <p:spPr bwMode="auto">
          <a:xfrm>
            <a:off x="820325" y="1176298"/>
            <a:ext cx="1699680" cy="215140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6" name="Рисунок 25" descr="Minyukova TS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3055" y="1076796"/>
            <a:ext cx="1106612" cy="1569143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Рисунок 26" descr="Molchanova VI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133" y="3866636"/>
            <a:ext cx="1218654" cy="1636868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Рисунок 28" descr="C:\Documents and Settings\Администратор\Рабочий стол\P00608-133344(1).jpg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0" t="15307" r="11406" b="4566"/>
          <a:stretch/>
        </p:blipFill>
        <p:spPr bwMode="auto">
          <a:xfrm>
            <a:off x="5438899" y="3864847"/>
            <a:ext cx="1093869" cy="1550302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Рисунок 29" descr="C:\Documents and Settings\Администратор\Рабочий стол\P00608-133841(1)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0701" y="1112629"/>
            <a:ext cx="1107323" cy="15333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2442" y="116632"/>
            <a:ext cx="8446022" cy="792088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</a:t>
            </a:r>
            <a:r>
              <a:rPr lang="ru-RU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предметную </a:t>
            </a:r>
            <a:r>
              <a:rPr lang="ru-RU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ь </a:t>
            </a:r>
            <a:br>
              <a:rPr lang="ru-RU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</a:t>
            </a:r>
            <a:r>
              <a:rPr lang="ru-RU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туации «как есть»)</a:t>
            </a:r>
            <a:endParaRPr lang="ru-RU" sz="2800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92327" y="980728"/>
            <a:ext cx="8484129" cy="5449816"/>
          </a:xfrm>
        </p:spPr>
        <p:txBody>
          <a:bodyPr/>
          <a:lstStyle/>
          <a:p>
            <a:pPr marL="0" indent="0" algn="ctr">
              <a:buNone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рта текущего состояния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 «Оптимизация процесса подготовки к образовательной деятельности по физической культуре»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115699" y="2433053"/>
            <a:ext cx="288032" cy="126551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ХОД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536278" y="2106859"/>
            <a:ext cx="1571581" cy="15841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Сообщает воспитанникам о подготовке к образовательной деятельности по физической культуре</a:t>
            </a: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1- 2 мин)</a:t>
            </a:r>
            <a:endParaRPr lang="ru-RU" sz="105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536278" y="1752180"/>
            <a:ext cx="596671" cy="3316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599949" y="2065907"/>
            <a:ext cx="1571581" cy="15841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>
              <a:defRPr/>
            </a:pPr>
            <a:endParaRPr lang="ru-RU" sz="1100" dirty="0" smtClean="0">
              <a:solidFill>
                <a:schemeClr val="tx1"/>
              </a:solidFill>
            </a:endParaRP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Наведение порядка воспитанниками в игровых центрах активности  </a:t>
            </a:r>
          </a:p>
          <a:p>
            <a:pPr algn="ctr"/>
            <a:endParaRPr lang="ru-RU" sz="8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8-10 мин)</a:t>
            </a:r>
            <a:endParaRPr lang="ru-RU" sz="105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620115" y="1767520"/>
            <a:ext cx="596671" cy="3001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2</a:t>
            </a:r>
            <a:endParaRPr lang="ru-RU" sz="900" b="1" dirty="0"/>
          </a:p>
        </p:txBody>
      </p:sp>
      <p:sp>
        <p:nvSpPr>
          <p:cNvPr id="14" name="Стрелка вправо 13"/>
          <p:cNvSpPr/>
          <p:nvPr/>
        </p:nvSpPr>
        <p:spPr>
          <a:xfrm>
            <a:off x="3131564" y="2683047"/>
            <a:ext cx="468384" cy="19416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Стрелка вправо 14"/>
          <p:cNvSpPr/>
          <p:nvPr/>
        </p:nvSpPr>
        <p:spPr>
          <a:xfrm>
            <a:off x="5191501" y="2683047"/>
            <a:ext cx="520870" cy="207896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5712371" y="2098855"/>
            <a:ext cx="1571581" cy="15841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>
              <a:defRPr/>
            </a:pPr>
            <a:endParaRPr lang="ru-RU" sz="1100" dirty="0" smtClean="0">
              <a:solidFill>
                <a:schemeClr val="tx1"/>
              </a:solidFill>
            </a:endParaRP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Подготовка к ОД по физической культуре</a:t>
            </a:r>
          </a:p>
          <a:p>
            <a:pPr algn="ctr"/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(переодевание, подготовка инвентаря)</a:t>
            </a:r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9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9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15-20 мин)</a:t>
            </a:r>
            <a:endParaRPr lang="ru-RU" sz="105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712371" y="1767520"/>
            <a:ext cx="596671" cy="3114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18" name="Стрелка вправо 17"/>
          <p:cNvSpPr/>
          <p:nvPr/>
        </p:nvSpPr>
        <p:spPr>
          <a:xfrm>
            <a:off x="4182545" y="4748774"/>
            <a:ext cx="60354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2604447" y="4172586"/>
            <a:ext cx="1571581" cy="12826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05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Построение воспитанников</a:t>
            </a:r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1-2 мин)</a:t>
            </a:r>
            <a:endParaRPr lang="ru-RU" sz="105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595436" y="3861168"/>
            <a:ext cx="596671" cy="3114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4</a:t>
            </a:r>
            <a:endParaRPr lang="ru-RU" sz="900" b="1" dirty="0"/>
          </a:p>
        </p:txBody>
      </p:sp>
      <p:pic>
        <p:nvPicPr>
          <p:cNvPr id="2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841232"/>
            <a:ext cx="734238" cy="1047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3744" y="4305109"/>
            <a:ext cx="698410" cy="1150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4751801" y="4172586"/>
            <a:ext cx="1571581" cy="128267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Переход воспитанников из группы в спортивный зал  </a:t>
            </a:r>
          </a:p>
          <a:p>
            <a:pPr algn="ctr"/>
            <a:endParaRPr lang="ru-RU" sz="105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1-2 мин)</a:t>
            </a:r>
            <a:endParaRPr lang="ru-RU" sz="105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786093" y="3861169"/>
            <a:ext cx="596671" cy="3114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5</a:t>
            </a:r>
            <a:endParaRPr lang="ru-RU" sz="900" b="1"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1509559" y="3424077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1536277" y="2382263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3599948" y="3394581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3599949" y="2419532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5712371" y="3394581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5712371" y="2375287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4711032" y="5161359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4737461" y="4512361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2645205" y="5131068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2631005" y="4499318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Скругленный прямоугольник 41"/>
          <p:cNvSpPr/>
          <p:nvPr/>
        </p:nvSpPr>
        <p:spPr>
          <a:xfrm>
            <a:off x="6444208" y="4084907"/>
            <a:ext cx="318382" cy="145802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ЫХОД</a:t>
            </a:r>
            <a:endParaRPr lang="ru-RU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86224" y="5591815"/>
            <a:ext cx="5367367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Временные потери</a:t>
            </a:r>
          </a:p>
          <a:p>
            <a:r>
              <a:rPr lang="ru-RU" sz="105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Отсутствие визуализации 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05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05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05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никновение конфликтных ситуаций при переодевании воспитанников</a:t>
            </a:r>
          </a:p>
          <a:p>
            <a:r>
              <a:rPr lang="ru-RU" sz="105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105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Отсутствие специального места хранения детской спортивной формы</a:t>
            </a:r>
          </a:p>
          <a:p>
            <a:r>
              <a:rPr lang="ru-RU" sz="105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Затруднения при подготовке спортивного инвентаря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05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ПП </a:t>
            </a:r>
            <a:r>
              <a:rPr lang="ru-RU" sz="105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ремя протекания процесса) – </a:t>
            </a:r>
            <a:r>
              <a:rPr lang="ru-RU" sz="105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6-36 </a:t>
            </a:r>
            <a:r>
              <a:rPr lang="ru-RU" sz="105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Пятно 1 36"/>
          <p:cNvSpPr/>
          <p:nvPr/>
        </p:nvSpPr>
        <p:spPr>
          <a:xfrm>
            <a:off x="3395823" y="3295895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8" name="Пятно 1 37"/>
          <p:cNvSpPr/>
          <p:nvPr/>
        </p:nvSpPr>
        <p:spPr>
          <a:xfrm>
            <a:off x="4843515" y="3295895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9" name="Пятно 1 38"/>
          <p:cNvSpPr/>
          <p:nvPr/>
        </p:nvSpPr>
        <p:spPr>
          <a:xfrm>
            <a:off x="6802126" y="3418388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3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40" name="Пятно 1 39"/>
          <p:cNvSpPr/>
          <p:nvPr/>
        </p:nvSpPr>
        <p:spPr>
          <a:xfrm>
            <a:off x="5558199" y="3345290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1" name="Пятно 1 40"/>
          <p:cNvSpPr/>
          <p:nvPr/>
        </p:nvSpPr>
        <p:spPr>
          <a:xfrm>
            <a:off x="7163591" y="3019915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3" name="Пятно 1 42"/>
          <p:cNvSpPr/>
          <p:nvPr/>
        </p:nvSpPr>
        <p:spPr>
          <a:xfrm>
            <a:off x="7154612" y="2288510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4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44" name="Пятно 1 43"/>
          <p:cNvSpPr/>
          <p:nvPr/>
        </p:nvSpPr>
        <p:spPr>
          <a:xfrm>
            <a:off x="7350908" y="2683047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644040681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404664"/>
            <a:ext cx="7859216" cy="980728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 (описание ситуации «как есть»)</a:t>
            </a:r>
            <a:b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200" dirty="0"/>
          </a:p>
        </p:txBody>
      </p:sp>
      <p:sp>
        <p:nvSpPr>
          <p:cNvPr id="4" name="Заголовок 1"/>
          <p:cNvSpPr>
            <a:spLocks noGrp="1"/>
          </p:cNvSpPr>
          <p:nvPr>
            <p:ph sz="quarter" idx="1"/>
          </p:nvPr>
        </p:nvSpPr>
        <p:spPr>
          <a:xfrm>
            <a:off x="683568" y="1124744"/>
            <a:ext cx="7992888" cy="432048"/>
          </a:xfrm>
        </p:spPr>
        <p:txBody>
          <a:bodyPr>
            <a:normAutofit fontScale="85000" lnSpcReduction="20000"/>
          </a:bodyPr>
          <a:lstStyle/>
          <a:p>
            <a:pPr marL="0" indent="0" algn="ctr">
              <a:buNone/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ирамида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</a:t>
            </a:r>
            <a:endParaRPr lang="ru-RU" sz="2400" dirty="0"/>
          </a:p>
          <a:p>
            <a:pPr marL="0" indent="0" algn="ctr" eaLnBrk="1" hangingPunct="1">
              <a:buNone/>
            </a:pP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939131" y="1556792"/>
            <a:ext cx="1788652" cy="1581704"/>
            <a:chOff x="1769969" y="0"/>
            <a:chExt cx="1788652" cy="1581704"/>
          </a:xfrm>
        </p:grpSpPr>
        <p:sp>
          <p:nvSpPr>
            <p:cNvPr id="6" name="Трапеция 5"/>
            <p:cNvSpPr/>
            <p:nvPr/>
          </p:nvSpPr>
          <p:spPr>
            <a:xfrm>
              <a:off x="1769969" y="0"/>
              <a:ext cx="1788652" cy="1581704"/>
            </a:xfrm>
            <a:prstGeom prst="trapezoid">
              <a:avLst>
                <a:gd name="adj" fmla="val 56542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alpha val="9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3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Трапеция 4"/>
            <p:cNvSpPr/>
            <p:nvPr/>
          </p:nvSpPr>
          <p:spPr>
            <a:xfrm>
              <a:off x="1769969" y="0"/>
              <a:ext cx="1788652" cy="15817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b="1" kern="1200" dirty="0" smtClean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b="1" kern="1200" dirty="0" smtClean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Федеральный </a:t>
              </a: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уровень</a:t>
              </a:r>
              <a:endParaRPr lang="ru-RU" sz="1400" b="1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1044805" y="3138496"/>
            <a:ext cx="3577304" cy="1581704"/>
            <a:chOff x="903403" y="1579205"/>
            <a:chExt cx="3577304" cy="1581704"/>
          </a:xfrm>
        </p:grpSpPr>
        <p:sp>
          <p:nvSpPr>
            <p:cNvPr id="9" name="Трапеция 8"/>
            <p:cNvSpPr/>
            <p:nvPr/>
          </p:nvSpPr>
          <p:spPr>
            <a:xfrm>
              <a:off x="903403" y="1579205"/>
              <a:ext cx="3577304" cy="1581704"/>
            </a:xfrm>
            <a:prstGeom prst="trapezoid">
              <a:avLst>
                <a:gd name="adj" fmla="val 56542"/>
              </a:avLst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</p:sp>
        <p:sp>
          <p:nvSpPr>
            <p:cNvPr id="10" name="Трапеция 4"/>
            <p:cNvSpPr/>
            <p:nvPr/>
          </p:nvSpPr>
          <p:spPr>
            <a:xfrm>
              <a:off x="1529431" y="1579205"/>
              <a:ext cx="2325248" cy="15817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Региональный уровень</a:t>
              </a:r>
              <a:endParaRPr lang="ru-RU" sz="1400" b="1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169161" y="4720200"/>
            <a:ext cx="5328591" cy="1548662"/>
            <a:chOff x="0" y="3163409"/>
            <a:chExt cx="5328591" cy="1548662"/>
          </a:xfrm>
        </p:grpSpPr>
        <p:sp>
          <p:nvSpPr>
            <p:cNvPr id="12" name="Трапеция 11"/>
            <p:cNvSpPr/>
            <p:nvPr/>
          </p:nvSpPr>
          <p:spPr>
            <a:xfrm>
              <a:off x="0" y="3163409"/>
              <a:ext cx="5328591" cy="1548662"/>
            </a:xfrm>
            <a:prstGeom prst="trapezoid">
              <a:avLst>
                <a:gd name="adj" fmla="val 56542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alpha val="90000"/>
                <a:hueOff val="0"/>
                <a:satOff val="0"/>
                <a:lumOff val="0"/>
                <a:alphaOff val="-40000"/>
              </a:schemeClr>
            </a:fillRef>
            <a:effectRef idx="3">
              <a:schemeClr val="accent3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13" name="Трапеция 4"/>
            <p:cNvSpPr/>
            <p:nvPr/>
          </p:nvSpPr>
          <p:spPr>
            <a:xfrm>
              <a:off x="932503" y="3163409"/>
              <a:ext cx="3463584" cy="15486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Уровень образовательной организации</a:t>
              </a:r>
              <a:endParaRPr lang="ru-RU" sz="1400" b="1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4" name="Скругленный прямоугольник 13"/>
          <p:cNvSpPr/>
          <p:nvPr/>
        </p:nvSpPr>
        <p:spPr>
          <a:xfrm>
            <a:off x="755576" y="2765465"/>
            <a:ext cx="1502479" cy="3571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36652" y="4291834"/>
            <a:ext cx="1502479" cy="3571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215746" y="3753664"/>
            <a:ext cx="3604725" cy="1408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05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Временные потери</a:t>
            </a:r>
          </a:p>
          <a:p>
            <a:pPr lvl="0"/>
            <a:r>
              <a:rPr lang="ru-RU" sz="105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Отсутствие визуализации </a:t>
            </a:r>
          </a:p>
          <a:p>
            <a:pPr lvl="0"/>
            <a:r>
              <a:rPr lang="ru-RU" sz="105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Возникновение конфликтных ситуаций при переодевании воспитанников</a:t>
            </a:r>
          </a:p>
          <a:p>
            <a:pPr lvl="0"/>
            <a:r>
              <a:rPr lang="ru-RU" sz="105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Отсутствие специального места хранения детской спортивной формы</a:t>
            </a:r>
          </a:p>
          <a:p>
            <a:pPr lvl="0"/>
            <a:r>
              <a:rPr lang="ru-RU" sz="105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Затруднения при подготовке спортивного инвентаря</a:t>
            </a:r>
          </a:p>
          <a:p>
            <a:pPr marL="342900" indent="-342900">
              <a:buFontTx/>
              <a:buAutoNum type="arabicPeriod"/>
            </a:pP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ятно 1 16"/>
          <p:cNvSpPr/>
          <p:nvPr/>
        </p:nvSpPr>
        <p:spPr>
          <a:xfrm>
            <a:off x="860751" y="5657455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" name="Пятно 1 17"/>
          <p:cNvSpPr/>
          <p:nvPr/>
        </p:nvSpPr>
        <p:spPr>
          <a:xfrm>
            <a:off x="1698218" y="5657455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9" name="Пятно 1 18"/>
          <p:cNvSpPr/>
          <p:nvPr/>
        </p:nvSpPr>
        <p:spPr>
          <a:xfrm>
            <a:off x="2483768" y="5657455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3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20" name="Пятно 1 19"/>
          <p:cNvSpPr/>
          <p:nvPr/>
        </p:nvSpPr>
        <p:spPr>
          <a:xfrm>
            <a:off x="3007013" y="5657455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4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21" name="Пятно 1 20"/>
          <p:cNvSpPr/>
          <p:nvPr/>
        </p:nvSpPr>
        <p:spPr>
          <a:xfrm>
            <a:off x="3688765" y="5657455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547630298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706090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</a:t>
            </a:r>
            <a:r>
              <a:rPr lang="ru-RU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ь</a:t>
            </a:r>
            <a:br>
              <a:rPr lang="ru-RU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исание ситуации «как есть</a:t>
            </a:r>
            <a:r>
              <a:rPr lang="ru-RU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)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3131840" y="692696"/>
            <a:ext cx="5842992" cy="288032"/>
          </a:xfrm>
        </p:spPr>
        <p:txBody>
          <a:bodyPr>
            <a:normAutofit fontScale="77500" lnSpcReduction="20000"/>
          </a:bodyPr>
          <a:lstStyle/>
          <a:p>
            <a:pPr marL="0" indent="0" algn="r">
              <a:buNone/>
            </a:pPr>
            <a:r>
              <a:rPr lang="ru-RU" sz="2000" dirty="0" smtClean="0"/>
              <a:t>Анализ проблем</a:t>
            </a:r>
            <a:endParaRPr lang="ru-RU" sz="20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0971840"/>
              </p:ext>
            </p:extLst>
          </p:nvPr>
        </p:nvGraphicFramePr>
        <p:xfrm>
          <a:off x="179512" y="1052736"/>
          <a:ext cx="8712969" cy="53285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288"/>
                <a:gridCol w="1944216"/>
                <a:gridCol w="2232248"/>
                <a:gridCol w="1944217"/>
              </a:tblGrid>
              <a:tr h="435782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Проблема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опричина</a:t>
                      </a:r>
                    </a:p>
                    <a:p>
                      <a:endParaRPr lang="ru-RU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Способ</a:t>
                      </a:r>
                      <a:r>
                        <a:rPr lang="ru-RU" sz="1200" baseline="0" dirty="0" smtClean="0"/>
                        <a:t> решения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Экономия времени, мин.</a:t>
                      </a:r>
                      <a:endParaRPr lang="ru-RU" sz="1200" dirty="0"/>
                    </a:p>
                  </a:txBody>
                  <a:tcPr/>
                </a:tc>
              </a:tr>
              <a:tr h="61009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Временные потери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визуализации  игрового</a:t>
                      </a:r>
                      <a:r>
                        <a:rPr lang="ru-RU" sz="1200" b="0" baseline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странства в центрах активности</a:t>
                      </a:r>
                      <a:endParaRPr lang="ru-RU" sz="1200" b="0" dirty="0" smtClean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здание элементов визуализации игрового пространств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-4</a:t>
                      </a:r>
                      <a:endParaRPr lang="ru-RU" sz="1200" dirty="0"/>
                    </a:p>
                  </a:txBody>
                  <a:tcPr/>
                </a:tc>
              </a:tr>
              <a:tr h="435782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Создание графика дежурств в центрах активности  для детей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-3</a:t>
                      </a:r>
                      <a:endParaRPr lang="ru-RU" sz="1200" dirty="0"/>
                    </a:p>
                  </a:txBody>
                  <a:tcPr/>
                </a:tc>
              </a:tr>
              <a:tr h="435782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Отсутствие визуализации </a:t>
                      </a:r>
                    </a:p>
                    <a:p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Отсутствие алгоритма переодевания 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rPr>
                        <a:t>Разработка алгоритм переодевания 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-2</a:t>
                      </a:r>
                      <a:endParaRPr lang="ru-RU" sz="1200" dirty="0"/>
                    </a:p>
                  </a:txBody>
                  <a:tcPr/>
                </a:tc>
              </a:tr>
              <a:tr h="784408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Отсутствие алгоритма подготовки инвентаря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к ОД по  физической культуре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работка алгоритма подготовки спортивного инвентаря к ООД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-2</a:t>
                      </a:r>
                      <a:endParaRPr lang="ru-RU" sz="1200" dirty="0"/>
                    </a:p>
                  </a:txBody>
                  <a:tcPr/>
                </a:tc>
              </a:tr>
              <a:tr h="61009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Возникновение конфликтных ситуаций при переодевании воспитанник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ru-RU" sz="1200" b="0" kern="120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согласованные</a:t>
                      </a:r>
                      <a:r>
                        <a:rPr lang="ru-RU" sz="1200" b="0" kern="1200" baseline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ействия  детей</a:t>
                      </a:r>
                      <a:endParaRPr lang="ru-RU" sz="1200" b="0" kern="1200" dirty="0" smtClean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Создание комфортного пространства для переодевания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-4</a:t>
                      </a:r>
                      <a:endParaRPr lang="ru-RU" sz="1200" dirty="0"/>
                    </a:p>
                  </a:txBody>
                  <a:tcPr/>
                </a:tc>
              </a:tr>
              <a:tr h="7392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специального места хранения детской спортивной формы</a:t>
                      </a:r>
                    </a:p>
                    <a:p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агромождение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дежды в детских шкафчиках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Приобретение </a:t>
                      </a:r>
                      <a:r>
                        <a:rPr lang="ru-RU" sz="1200" b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бильного</a:t>
                      </a: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еллажа</a:t>
                      </a: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</a:t>
                      </a: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ранения</a:t>
                      </a: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ртивной</a:t>
                      </a: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дежд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-4</a:t>
                      </a:r>
                      <a:endParaRPr lang="ru-RU" sz="1200" dirty="0"/>
                    </a:p>
                  </a:txBody>
                  <a:tcPr/>
                </a:tc>
              </a:tr>
              <a:tr h="61009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Затруднения при подготовке спортивного инвентаря</a:t>
                      </a:r>
                      <a:endParaRPr kumimoji="0" lang="ru-RU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есогласованность действий 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алгоритма подготовки спортивного</a:t>
                      </a:r>
                      <a:r>
                        <a:rPr lang="ru-RU" sz="1200" b="0" baseline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нвентаря к ОД</a:t>
                      </a:r>
                      <a:endParaRPr lang="ru-RU" sz="1200" b="0" dirty="0" smtClean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-3</a:t>
                      </a:r>
                      <a:endParaRPr lang="ru-RU" sz="1200" dirty="0"/>
                    </a:p>
                  </a:txBody>
                  <a:tcPr/>
                </a:tc>
              </a:tr>
              <a:tr h="47451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графика ответственных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-2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8338942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2442" y="116632"/>
            <a:ext cx="8446022" cy="792088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</a:t>
            </a:r>
            <a:r>
              <a:rPr lang="ru-RU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предметную </a:t>
            </a:r>
            <a:r>
              <a:rPr lang="ru-RU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ь </a:t>
            </a:r>
            <a:br>
              <a:rPr lang="ru-RU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</a:t>
            </a:r>
            <a:r>
              <a:rPr lang="ru-RU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туации «</a:t>
            </a:r>
            <a:r>
              <a:rPr lang="ru-RU" sz="2800"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к </a:t>
            </a:r>
            <a:r>
              <a:rPr lang="ru-RU" sz="2800" b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удет</a:t>
            </a:r>
            <a:r>
              <a:rPr lang="ru-RU" sz="28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)</a:t>
            </a:r>
            <a:endParaRPr lang="ru-RU" sz="2800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43674" y="925175"/>
            <a:ext cx="8484129" cy="5449816"/>
          </a:xfrm>
        </p:spPr>
        <p:txBody>
          <a:bodyPr/>
          <a:lstStyle/>
          <a:p>
            <a:pPr marL="0" indent="0" algn="ctr">
              <a:buNone/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рта текущего состояния процесса «Оптимизация процесса подготовки к образовательной деятельности по физической культуре»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115699" y="2433053"/>
            <a:ext cx="288032" cy="126551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ХОД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536278" y="2106859"/>
            <a:ext cx="1571581" cy="15841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Сообщает воспитанникам о подготовке к образовательной деятельности по физической культуре</a:t>
            </a: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1-2 мин)</a:t>
            </a:r>
            <a:endParaRPr lang="ru-RU" sz="105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536278" y="1752180"/>
            <a:ext cx="596671" cy="3316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599949" y="2065907"/>
            <a:ext cx="1571581" cy="15841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>
              <a:defRPr/>
            </a:pPr>
            <a:endParaRPr lang="ru-RU" sz="1100" dirty="0" smtClean="0">
              <a:solidFill>
                <a:schemeClr val="tx1"/>
              </a:solidFill>
            </a:endParaRP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Наведение порядка воспитанниками в игровых центрах активности  </a:t>
            </a:r>
          </a:p>
          <a:p>
            <a:pPr algn="ctr"/>
            <a:endParaRPr lang="ru-RU" sz="8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3-4 мин)</a:t>
            </a:r>
            <a:endParaRPr lang="ru-RU" sz="105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620115" y="1767520"/>
            <a:ext cx="596671" cy="3001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2</a:t>
            </a:r>
            <a:endParaRPr lang="ru-RU" sz="900" b="1" dirty="0"/>
          </a:p>
        </p:txBody>
      </p:sp>
      <p:sp>
        <p:nvSpPr>
          <p:cNvPr id="14" name="Стрелка вправо 13"/>
          <p:cNvSpPr/>
          <p:nvPr/>
        </p:nvSpPr>
        <p:spPr>
          <a:xfrm>
            <a:off x="3131564" y="2683047"/>
            <a:ext cx="468384" cy="19416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Стрелка вправо 14"/>
          <p:cNvSpPr/>
          <p:nvPr/>
        </p:nvSpPr>
        <p:spPr>
          <a:xfrm>
            <a:off x="5191501" y="2683047"/>
            <a:ext cx="520870" cy="207896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5737036" y="2114387"/>
            <a:ext cx="1571581" cy="15841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>
              <a:defRPr/>
            </a:pPr>
            <a:endParaRPr lang="ru-RU" sz="1100" dirty="0" smtClean="0">
              <a:solidFill>
                <a:schemeClr val="tx1"/>
              </a:solidFill>
            </a:endParaRPr>
          </a:p>
          <a:p>
            <a:pPr lvl="0" algn="ctr"/>
            <a:r>
              <a:rPr lang="ru-RU" sz="10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дготовка к ОД по физической культуре</a:t>
            </a:r>
          </a:p>
          <a:p>
            <a:pPr lvl="0" algn="ctr"/>
            <a:r>
              <a:rPr lang="ru-RU" sz="10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переодевание, подготовка инвентаря)</a:t>
            </a:r>
            <a:endParaRPr lang="ru-RU" sz="8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05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10-12  мин)</a:t>
            </a:r>
            <a:endParaRPr lang="ru-RU" sz="105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712371" y="1767520"/>
            <a:ext cx="596671" cy="3114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18" name="Стрелка вправо 17"/>
          <p:cNvSpPr/>
          <p:nvPr/>
        </p:nvSpPr>
        <p:spPr>
          <a:xfrm>
            <a:off x="4182545" y="4748774"/>
            <a:ext cx="60354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2604447" y="4172586"/>
            <a:ext cx="1571581" cy="15841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05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Построение воспитанников</a:t>
            </a:r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8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1-2 мин)</a:t>
            </a:r>
            <a:endParaRPr lang="ru-RU" sz="105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595436" y="3861168"/>
            <a:ext cx="596671" cy="3114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4</a:t>
            </a:r>
            <a:endParaRPr lang="ru-RU" sz="900" b="1" dirty="0"/>
          </a:p>
        </p:txBody>
      </p:sp>
      <p:pic>
        <p:nvPicPr>
          <p:cNvPr id="2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841232"/>
            <a:ext cx="734238" cy="1047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3744" y="4305109"/>
            <a:ext cx="698410" cy="1150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4786093" y="4172586"/>
            <a:ext cx="1571581" cy="15841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05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Переход воспитанников из группы в спортивный зал  </a:t>
            </a: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1-2  мин)</a:t>
            </a:r>
            <a:endParaRPr lang="ru-RU" sz="105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786093" y="3861169"/>
            <a:ext cx="596671" cy="3114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5</a:t>
            </a:r>
            <a:endParaRPr lang="ru-RU" sz="900" b="1"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1509559" y="3424077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1536277" y="2382263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3599948" y="3394581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3599949" y="2419532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5712371" y="3394581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5712371" y="2375287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4812102" y="5373216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4812102" y="4499318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2604446" y="5374551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2631005" y="4499318"/>
            <a:ext cx="15715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Скругленный прямоугольник 41"/>
          <p:cNvSpPr/>
          <p:nvPr/>
        </p:nvSpPr>
        <p:spPr>
          <a:xfrm>
            <a:off x="6522827" y="4340501"/>
            <a:ext cx="318382" cy="145802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ЫХОД</a:t>
            </a:r>
            <a:endParaRPr lang="ru-RU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804220" y="6029360"/>
            <a:ext cx="41791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ПП (время протекания процесса) </a:t>
            </a:r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6– 22 мин.          </a:t>
            </a:r>
          </a:p>
          <a:p>
            <a:pPr>
              <a:defRPr/>
            </a:pP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3167876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92026" y="188640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558697" y="908720"/>
            <a:ext cx="8636000" cy="512592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>
              <a:ext uri="{FF2B5EF4-FFF2-40B4-BE49-F238E27FC236}"/>
            </a:extLst>
          </p:cNvPr>
          <p:cNvSpPr txBox="1"/>
          <p:nvPr/>
        </p:nvSpPr>
        <p:spPr>
          <a:xfrm>
            <a:off x="698559" y="908720"/>
            <a:ext cx="154341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акторы успеха</a:t>
            </a:r>
          </a:p>
        </p:txBody>
      </p:sp>
      <p:sp>
        <p:nvSpPr>
          <p:cNvPr id="21" name="TextBox 20">
            <a:extLst>
              <a:ext uri="{FF2B5EF4-FFF2-40B4-BE49-F238E27FC236}"/>
            </a:extLst>
          </p:cNvPr>
          <p:cNvSpPr txBox="1"/>
          <p:nvPr/>
        </p:nvSpPr>
        <p:spPr>
          <a:xfrm>
            <a:off x="698559" y="3471684"/>
            <a:ext cx="1908745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ранили потери времени в </a:t>
            </a: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е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и </a:t>
            </a: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образовательной </a:t>
            </a:r>
            <a:r>
              <a:rPr lang="ru-RU" sz="12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и по физической культуре</a:t>
            </a:r>
          </a:p>
          <a:p>
            <a:pPr lvl="0">
              <a:defRPr/>
            </a:pP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2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endParaRPr lang="ru-RU" sz="1200" dirty="0" smtClean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2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2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/>
            </a:extLst>
          </p:cNvPr>
          <p:cNvSpPr txBox="1"/>
          <p:nvPr/>
        </p:nvSpPr>
        <p:spPr>
          <a:xfrm>
            <a:off x="3279179" y="3506303"/>
            <a:ext cx="237906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ировали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 </a:t>
            </a:r>
            <a:r>
              <a:rPr lang="ru-RU" sz="12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и к образовательной деятельности по физической культуре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200" dirty="0">
              <a:solidFill>
                <a:schemeClr val="accent2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4" name="TextBox 23">
            <a:extLst>
              <a:ext uri="{FF2B5EF4-FFF2-40B4-BE49-F238E27FC236}"/>
            </a:extLst>
          </p:cNvPr>
          <p:cNvSpPr txBox="1"/>
          <p:nvPr/>
        </p:nvSpPr>
        <p:spPr>
          <a:xfrm>
            <a:off x="6540521" y="3561982"/>
            <a:ext cx="22122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ли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зуализацию группового пространства </a:t>
            </a:r>
            <a:endParaRPr lang="ru-RU" sz="12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7</a:t>
            </a:fld>
            <a:endParaRPr lang="ru-RU" sz="1400" dirty="0"/>
          </a:p>
        </p:txBody>
      </p:sp>
      <p:sp>
        <p:nvSpPr>
          <p:cNvPr id="3" name="Плюс 2"/>
          <p:cNvSpPr/>
          <p:nvPr/>
        </p:nvSpPr>
        <p:spPr>
          <a:xfrm>
            <a:off x="2843807" y="1932425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люс 19"/>
          <p:cNvSpPr/>
          <p:nvPr/>
        </p:nvSpPr>
        <p:spPr>
          <a:xfrm>
            <a:off x="6037593" y="1995419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 descr="C:\Documents and Settings\Администратор\Рабочий стол\P00608-132857.jpg"/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0" t="9374" r="1520" b="7089"/>
          <a:stretch/>
        </p:blipFill>
        <p:spPr bwMode="auto">
          <a:xfrm>
            <a:off x="558696" y="1546547"/>
            <a:ext cx="2285111" cy="160118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" name="Рисунок 16" descr="https://avatars.mds.yandex.net/get-pdb/27625/48ed1826-9eed-4acd-a2b1-6c6535ab73b8/s1200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99" t="22409" r="12801" b="22133"/>
          <a:stretch/>
        </p:blipFill>
        <p:spPr bwMode="auto">
          <a:xfrm>
            <a:off x="3279179" y="1489451"/>
            <a:ext cx="2622773" cy="165828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2" name="Рисунок 21" descr="https://ds04.infourok.ru/uploads/ex/1216/00036d75-e95c39cd/img18.jpg"/>
          <p:cNvPicPr/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48" t="56000" r="6122" b="3825"/>
          <a:stretch/>
        </p:blipFill>
        <p:spPr bwMode="auto">
          <a:xfrm>
            <a:off x="6497159" y="1483608"/>
            <a:ext cx="2255593" cy="178851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23247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51520" y="1697921"/>
            <a:ext cx="8636000" cy="273919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Достигнутые результаты (было и стало) </a:t>
            </a: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1264145"/>
            <a:ext cx="1864485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395536" y="1868854"/>
            <a:ext cx="103981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ru-RU" sz="12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  <a:endParaRPr lang="ru-RU" sz="12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3410724" y="1931186"/>
            <a:ext cx="107844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endParaRPr lang="ru-RU" sz="1200" b="1" dirty="0" smtClean="0">
              <a:solidFill>
                <a:srgbClr val="92D05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b="1" dirty="0" smtClean="0">
                <a:solidFill>
                  <a:srgbClr val="92D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  <a:endParaRPr lang="ru-RU" sz="1200" b="1" dirty="0">
              <a:solidFill>
                <a:srgbClr val="92D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581387" y="2435697"/>
            <a:ext cx="16561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algn="ctr">
              <a:defRPr/>
            </a:pPr>
            <a:endParaRPr lang="ru-RU" sz="1200" dirty="0" smtClean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визуализации</a:t>
            </a:r>
            <a:endParaRPr lang="ru-RU" sz="1200" dirty="0" smtClean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412134" y="2058684"/>
            <a:ext cx="159154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азработаны алгоритмы и графики подготовки к ОД по физической культур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241" name="Picture 25" descr="https://d2gg9evh47fn9z.cloudfront.net/800px_COLOURBOX336902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523" y="5184205"/>
            <a:ext cx="1057340" cy="1291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332" name="Picture 4" descr="https://im0-tub-ru.yandex.net/i?id=26466810ba0cc8910e77eae9147df33a-l&amp;n=1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8228" y="5028002"/>
            <a:ext cx="1440160" cy="1360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>
            <a:extLst>
              <a:ext uri="{FF2B5EF4-FFF2-40B4-BE49-F238E27FC236}"/>
            </a:extLst>
          </p:cNvPr>
          <p:cNvSpPr/>
          <p:nvPr/>
        </p:nvSpPr>
        <p:spPr>
          <a:xfrm>
            <a:off x="185144" y="4600786"/>
            <a:ext cx="8636000" cy="194862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4"/>
          <p:cNvSpPr txBox="1">
            <a:spLocks noChangeArrowheads="1"/>
          </p:cNvSpPr>
          <p:nvPr/>
        </p:nvSpPr>
        <p:spPr bwMode="auto">
          <a:xfrm>
            <a:off x="251520" y="5013176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395536" y="5445224"/>
            <a:ext cx="185026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никновение конфликтных ситуаций при переодевании воспитанников</a:t>
            </a:r>
            <a:endParaRPr lang="ru-RU" sz="12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8" name="TextBox 29"/>
          <p:cNvSpPr txBox="1">
            <a:spLocks noChangeArrowheads="1"/>
          </p:cNvSpPr>
          <p:nvPr/>
        </p:nvSpPr>
        <p:spPr bwMode="auto">
          <a:xfrm>
            <a:off x="4412134" y="5059964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29" name="TextBox 17"/>
          <p:cNvSpPr txBox="1">
            <a:spLocks noChangeArrowheads="1"/>
          </p:cNvSpPr>
          <p:nvPr/>
        </p:nvSpPr>
        <p:spPr bwMode="auto">
          <a:xfrm>
            <a:off x="4813396" y="5537555"/>
            <a:ext cx="158417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оздано комфортное пространство для переодевания</a:t>
            </a: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" name="Picture 21" descr="https://im0-tub-ru.yandex.net/i?id=373ae64c9d7c1a5d6ec9746ffe34aef9-l&amp;n=1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1607" y="2428562"/>
            <a:ext cx="1456807" cy="1400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0426528"/>
              </p:ext>
            </p:extLst>
          </p:nvPr>
        </p:nvGraphicFramePr>
        <p:xfrm>
          <a:off x="6070616" y="3258844"/>
          <a:ext cx="2677848" cy="9915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622"/>
                <a:gridCol w="692622"/>
                <a:gridCol w="692622"/>
                <a:gridCol w="599982"/>
              </a:tblGrid>
              <a:tr h="437320">
                <a:tc gridSpan="4">
                  <a:txBody>
                    <a:bodyPr/>
                    <a:lstStyle/>
                    <a:p>
                      <a:r>
                        <a:rPr lang="ru-RU" sz="900" dirty="0" smtClean="0"/>
                        <a:t>Алгоритм переодевания в</a:t>
                      </a:r>
                      <a:r>
                        <a:rPr lang="ru-RU" sz="900" baseline="0" dirty="0" smtClean="0"/>
                        <a:t> спортивную форму</a:t>
                      </a:r>
                      <a:endParaRPr lang="ru-RU" sz="9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554242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3" name="Рисунок 32" descr="C:\Documents and Settings\Администратор\Рабочий стол\S00608-140122(1)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617" y="3592469"/>
            <a:ext cx="653910" cy="58690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Рисунок 33" descr="C:\Documents and Settings\Администратор\Рабочий стол\S00608-140153(1)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7759" y="3592470"/>
            <a:ext cx="609042" cy="586905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Рисунок 35" descr="C:\Documents and Settings\Администратор\Рабочий стол\S00608-140317(1).jp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8388" y="3615648"/>
            <a:ext cx="515946" cy="540548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Рисунок 36" descr="C:\Documents and Settings\Администратор\Рабочий стол\s1200.jpg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8475" y="3592470"/>
            <a:ext cx="624254" cy="559945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Рисунок 37" descr="C:\Documents and Settings\Администратор\Мои документы\Downloads\IMG-6f8bebe446cd76299baf830b7094a9c0-V.jpg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31" y="2195681"/>
            <a:ext cx="992244" cy="8005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Picture 25" descr="https://d2gg9evh47fn9z.cloudfront.net/800px_COLOURBOX336902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7552" y="5056455"/>
            <a:ext cx="1222360" cy="1492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Рисунок 34" descr="C:\Documents and Settings\Администратор\Мои документы\Downloads\P00610-174318.jpg"/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5903" y="5055580"/>
            <a:ext cx="1211530" cy="147307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1922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66621" y="4077072"/>
            <a:ext cx="8636000" cy="172819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51520" y="2004423"/>
            <a:ext cx="8636000" cy="172819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98413" y="1594588"/>
            <a:ext cx="1864485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5076056" y="2303778"/>
            <a:ext cx="1525372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иобретение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бильного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еллажа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ранения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ортивной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ежды</a:t>
            </a:r>
          </a:p>
          <a:p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150749" y="2109648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268118" y="2064826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422402" y="4253725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4120526" y="4152418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386776" y="4869160"/>
            <a:ext cx="185026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труднения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подготовке спортивного инвентаря</a:t>
            </a: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427984" y="4506378"/>
            <a:ext cx="196099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 алгоритм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и спортивного инвентаря к </a:t>
            </a: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 и  график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х </a:t>
            </a:r>
          </a:p>
          <a:p>
            <a:pPr>
              <a:defRPr/>
            </a:pP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051720" y="2488443"/>
            <a:ext cx="188514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>
              <a:defRPr/>
            </a:pP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специального места хранения детской спортивной формы</a:t>
            </a:r>
          </a:p>
        </p:txBody>
      </p:sp>
      <p:pic>
        <p:nvPicPr>
          <p:cNvPr id="99332" name="Picture 4" descr="https://im0-tub-ru.yandex.net/i?id=26466810ba0cc8910e77eae9147df33a-l&amp;n=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9" y="2164889"/>
            <a:ext cx="1440160" cy="1360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C:\Documents and Settings\Администратор\Рабочий стол\IMG-a957e4bba4f9abcbf3616a592018b7e4-V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450" y="2215253"/>
            <a:ext cx="1679380" cy="1259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Рисунок 30" descr="C:\Documents and Settings\Администратор\Рабочий стол\572339cs-960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4279" y="4253725"/>
            <a:ext cx="1109980" cy="13652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Рисунок 31" descr="C:\Documents and Settings\Администратор\Рабочий стол\023.jpg"/>
          <p:cNvPicPr/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1" t="27755" r="40295" b="16338"/>
          <a:stretch/>
        </p:blipFill>
        <p:spPr bwMode="auto">
          <a:xfrm>
            <a:off x="6589461" y="4190805"/>
            <a:ext cx="1944216" cy="135671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267594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75</TotalTime>
  <Words>903</Words>
  <Application>Microsoft Office PowerPoint</Application>
  <PresentationFormat>Экран (4:3)</PresentationFormat>
  <Paragraphs>302</Paragraphs>
  <Slides>11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5" baseType="lpstr">
      <vt:lpstr>Тема Office</vt:lpstr>
      <vt:lpstr>1_Тема Office</vt:lpstr>
      <vt:lpstr>2_Тема Office</vt:lpstr>
      <vt:lpstr>think-cell Slide</vt:lpstr>
      <vt:lpstr>Паспорт проекта   «ОПТИМИЗАЦИЯ ПРОЦЕССА ПОДГОТОВКИ К ОБРАЗОВАТЕЛЬНОЙ ДЕЯТЕЛЬНОСТИ ПО ФИЗИЧЕСКОЙ КУЛЬТУРЕ»</vt:lpstr>
      <vt:lpstr>Команда проекта </vt:lpstr>
      <vt:lpstr>Введение в предметную область  (описание ситуации «как есть»)</vt:lpstr>
      <vt:lpstr> Введение в предметную область (описание ситуации «как есть») </vt:lpstr>
      <vt:lpstr>Введение в предметную область (описание ситуации «как есть»)</vt:lpstr>
      <vt:lpstr>Введение в предметную область  (описание ситуации «как будет»)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Презентация PowerPoint</vt:lpstr>
      <vt:lpstr>Достигнутые результа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elena</cp:lastModifiedBy>
  <cp:revision>186</cp:revision>
  <cp:lastPrinted>2020-06-10T13:41:25Z</cp:lastPrinted>
  <dcterms:created xsi:type="dcterms:W3CDTF">2018-08-20T14:01:12Z</dcterms:created>
  <dcterms:modified xsi:type="dcterms:W3CDTF">2020-06-10T21:14:58Z</dcterms:modified>
</cp:coreProperties>
</file>